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autoCompressPictures="0">
  <p:sldMasterIdLst>
    <p:sldMasterId id="2147483658" r:id="rId1"/>
  </p:sldMasterIdLst>
  <p:notesMasterIdLst>
    <p:notesMasterId r:id="rId6"/>
  </p:notesMasterIdLst>
  <p:sldIdLst>
    <p:sldId id="256" r:id="rId2"/>
    <p:sldId id="259" r:id="rId3"/>
    <p:sldId id="297" r:id="rId4"/>
    <p:sldId id="260" r:id="rId5"/>
  </p:sldIdLst>
  <p:sldSz cx="9144000" cy="5143500" type="screen16x9"/>
  <p:notesSz cx="6858000" cy="9144000"/>
  <p:embeddedFontLst>
    <p:embeddedFont>
      <p:font typeface="Raleway" panose="020B0503030101060003" pitchFamily="34" charset="77"/>
      <p:regular r:id="rId7"/>
      <p:bold r:id="rId8"/>
      <p:italic r:id="rId9"/>
      <p:boldItalic r:id="rId10"/>
    </p:embeddedFont>
    <p:embeddedFont>
      <p:font typeface="Raleway ExtraBold" panose="020B0503030101060003" pitchFamily="34" charset="77"/>
      <p:bold r:id="rId11"/>
      <p:italic r:id="rId11"/>
      <p:boldItalic r:id="rId11"/>
    </p:embeddedFont>
    <p:embeddedFont>
      <p:font typeface="Raleway Light" panose="020B0403030101060003" pitchFamily="34" charset="77"/>
      <p:regular r:id="rId11"/>
      <p:bold r:id="rId11"/>
      <p:italic r:id="rId11"/>
      <p:boldItalic r:id="rId11"/>
    </p:embeddedFont>
  </p:embeddedFontLst>
  <p:custDataLst>
    <p:tags r:id="rId1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B82C"/>
    <a:srgbClr val="FFFFFF"/>
    <a:srgbClr val="FFC641"/>
    <a:srgbClr val="D89F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90470C-1651-4F45-B964-95A09D58A92B}" v="2" dt="2019-10-23T21:10:50.622"/>
    <p1510:client id="{A2577121-5276-4048-8B28-B1C41C04DF2F}" v="1" dt="2019-10-23T17:10:48.920"/>
  </p1510:revLst>
</p1510:revInfo>
</file>

<file path=ppt/tableStyles.xml><?xml version="1.0" encoding="utf-8"?>
<a:tblStyleLst xmlns:a="http://schemas.openxmlformats.org/drawingml/2006/main" def="{9D2ED627-80BA-4E58-8C89-E4A6EE418124}">
  <a:tblStyle styleId="{9D2ED627-80BA-4E58-8C89-E4A6EE41812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22"/>
    <p:restoredTop sz="94561"/>
  </p:normalViewPr>
  <p:slideViewPr>
    <p:cSldViewPr snapToGrid="0" snapToObjects="1">
      <p:cViewPr varScale="1">
        <p:scale>
          <a:sx n="204" d="100"/>
          <a:sy n="204" d="100"/>
        </p:scale>
        <p:origin x="192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NUL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c Fink" userId="558fae73f20c01d9" providerId="LiveId" clId="{1890470C-1651-4F45-B964-95A09D58A92B}"/>
    <pc:docChg chg="custSel modSld">
      <pc:chgData name="Marc Fink" userId="558fae73f20c01d9" providerId="LiveId" clId="{1890470C-1651-4F45-B964-95A09D58A92B}" dt="2019-10-23T21:16:54.601" v="696" actId="20577"/>
      <pc:docMkLst>
        <pc:docMk/>
      </pc:docMkLst>
      <pc:sldChg chg="addSp delSp modSp">
        <pc:chgData name="Marc Fink" userId="558fae73f20c01d9" providerId="LiveId" clId="{1890470C-1651-4F45-B964-95A09D58A92B}" dt="2019-10-23T21:16:54.601" v="696" actId="20577"/>
        <pc:sldMkLst>
          <pc:docMk/>
          <pc:sldMk cId="3119262950" sldId="289"/>
        </pc:sldMkLst>
        <pc:spChg chg="mod">
          <ac:chgData name="Marc Fink" userId="558fae73f20c01d9" providerId="LiveId" clId="{1890470C-1651-4F45-B964-95A09D58A92B}" dt="2019-10-23T21:11:02.792" v="43" actId="20577"/>
          <ac:spMkLst>
            <pc:docMk/>
            <pc:sldMk cId="3119262950" sldId="289"/>
            <ac:spMk id="3" creationId="{7B176CEF-C895-5B45-A55D-BD30EFF4307E}"/>
          </ac:spMkLst>
        </pc:spChg>
        <pc:spChg chg="add mod">
          <ac:chgData name="Marc Fink" userId="558fae73f20c01d9" providerId="LiveId" clId="{1890470C-1651-4F45-B964-95A09D58A92B}" dt="2019-10-23T21:16:54.601" v="696" actId="20577"/>
          <ac:spMkLst>
            <pc:docMk/>
            <pc:sldMk cId="3119262950" sldId="289"/>
            <ac:spMk id="6" creationId="{DF67001B-6BF6-4022-B1C6-8FDFED3F9D0C}"/>
          </ac:spMkLst>
        </pc:spChg>
        <pc:picChg chg="del">
          <ac:chgData name="Marc Fink" userId="558fae73f20c01d9" providerId="LiveId" clId="{1890470C-1651-4F45-B964-95A09D58A92B}" dt="2019-10-23T21:10:08.848" v="0" actId="478"/>
          <ac:picMkLst>
            <pc:docMk/>
            <pc:sldMk cId="3119262950" sldId="289"/>
            <ac:picMk id="4" creationId="{B79DC922-5021-DC45-BEC6-16888B015F88}"/>
          </ac:picMkLst>
        </pc:picChg>
        <pc:picChg chg="add mod">
          <ac:chgData name="Marc Fink" userId="558fae73f20c01d9" providerId="LiveId" clId="{1890470C-1651-4F45-B964-95A09D58A92B}" dt="2019-10-23T21:10:23.991" v="5" actId="1076"/>
          <ac:picMkLst>
            <pc:docMk/>
            <pc:sldMk cId="3119262950" sldId="289"/>
            <ac:picMk id="5" creationId="{7526B4D5-23C0-4559-8404-B6B3CC8C2404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5" name="Google Shape;55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62143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g35ed75ccf_0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2" name="Google Shape;112;g35ed75ccf_0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514803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35f391192_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3" name="Google Shape;93;g35f391192_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65417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bg>
      <p:bgPr>
        <a:solidFill>
          <a:srgbClr val="FFB600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390735" y="379877"/>
            <a:ext cx="8362529" cy="4383746"/>
          </a:xfrm>
          <a:custGeom>
            <a:avLst/>
            <a:gdLst/>
            <a:ahLst/>
            <a:cxnLst/>
            <a:rect l="l" t="t" r="r" b="b"/>
            <a:pathLst>
              <a:path w="285508" h="149667" fill="none" extrusionOk="0">
                <a:moveTo>
                  <a:pt x="252882" y="0"/>
                </a:moveTo>
                <a:lnTo>
                  <a:pt x="13220" y="0"/>
                </a:lnTo>
                <a:lnTo>
                  <a:pt x="13220" y="0"/>
                </a:lnTo>
                <a:lnTo>
                  <a:pt x="11826" y="61"/>
                </a:lnTo>
                <a:lnTo>
                  <a:pt x="10552" y="243"/>
                </a:lnTo>
                <a:lnTo>
                  <a:pt x="9279" y="607"/>
                </a:lnTo>
                <a:lnTo>
                  <a:pt x="8066" y="1031"/>
                </a:lnTo>
                <a:lnTo>
                  <a:pt x="6914" y="1577"/>
                </a:lnTo>
                <a:lnTo>
                  <a:pt x="5822" y="2244"/>
                </a:lnTo>
                <a:lnTo>
                  <a:pt x="4791" y="3032"/>
                </a:lnTo>
                <a:lnTo>
                  <a:pt x="3881" y="3881"/>
                </a:lnTo>
                <a:lnTo>
                  <a:pt x="3032" y="4791"/>
                </a:lnTo>
                <a:lnTo>
                  <a:pt x="2244" y="5822"/>
                </a:lnTo>
                <a:lnTo>
                  <a:pt x="1577" y="6914"/>
                </a:lnTo>
                <a:lnTo>
                  <a:pt x="1031" y="8066"/>
                </a:lnTo>
                <a:lnTo>
                  <a:pt x="607" y="9279"/>
                </a:lnTo>
                <a:lnTo>
                  <a:pt x="243" y="10552"/>
                </a:lnTo>
                <a:lnTo>
                  <a:pt x="61" y="11826"/>
                </a:lnTo>
                <a:lnTo>
                  <a:pt x="0" y="13220"/>
                </a:lnTo>
                <a:lnTo>
                  <a:pt x="0" y="136447"/>
                </a:lnTo>
                <a:lnTo>
                  <a:pt x="0" y="136447"/>
                </a:lnTo>
                <a:lnTo>
                  <a:pt x="61" y="137841"/>
                </a:lnTo>
                <a:lnTo>
                  <a:pt x="243" y="139115"/>
                </a:lnTo>
                <a:lnTo>
                  <a:pt x="607" y="140388"/>
                </a:lnTo>
                <a:lnTo>
                  <a:pt x="1031" y="141601"/>
                </a:lnTo>
                <a:lnTo>
                  <a:pt x="1577" y="142753"/>
                </a:lnTo>
                <a:lnTo>
                  <a:pt x="2244" y="143845"/>
                </a:lnTo>
                <a:lnTo>
                  <a:pt x="3032" y="144876"/>
                </a:lnTo>
                <a:lnTo>
                  <a:pt x="3881" y="145786"/>
                </a:lnTo>
                <a:lnTo>
                  <a:pt x="4791" y="146635"/>
                </a:lnTo>
                <a:lnTo>
                  <a:pt x="5822" y="147423"/>
                </a:lnTo>
                <a:lnTo>
                  <a:pt x="6914" y="148090"/>
                </a:lnTo>
                <a:lnTo>
                  <a:pt x="8066" y="148636"/>
                </a:lnTo>
                <a:lnTo>
                  <a:pt x="9279" y="149060"/>
                </a:lnTo>
                <a:lnTo>
                  <a:pt x="10552" y="149424"/>
                </a:lnTo>
                <a:lnTo>
                  <a:pt x="11826" y="149606"/>
                </a:lnTo>
                <a:lnTo>
                  <a:pt x="13220" y="149667"/>
                </a:lnTo>
                <a:lnTo>
                  <a:pt x="272288" y="149667"/>
                </a:lnTo>
                <a:lnTo>
                  <a:pt x="272288" y="149667"/>
                </a:lnTo>
                <a:lnTo>
                  <a:pt x="273682" y="149606"/>
                </a:lnTo>
                <a:lnTo>
                  <a:pt x="274956" y="149424"/>
                </a:lnTo>
                <a:lnTo>
                  <a:pt x="276229" y="149060"/>
                </a:lnTo>
                <a:lnTo>
                  <a:pt x="277442" y="148636"/>
                </a:lnTo>
                <a:lnTo>
                  <a:pt x="278594" y="148090"/>
                </a:lnTo>
                <a:lnTo>
                  <a:pt x="279686" y="147423"/>
                </a:lnTo>
                <a:lnTo>
                  <a:pt x="280717" y="146635"/>
                </a:lnTo>
                <a:lnTo>
                  <a:pt x="281627" y="145786"/>
                </a:lnTo>
                <a:lnTo>
                  <a:pt x="282476" y="144876"/>
                </a:lnTo>
                <a:lnTo>
                  <a:pt x="283264" y="143845"/>
                </a:lnTo>
                <a:lnTo>
                  <a:pt x="283931" y="142753"/>
                </a:lnTo>
                <a:lnTo>
                  <a:pt x="284477" y="141601"/>
                </a:lnTo>
                <a:lnTo>
                  <a:pt x="284901" y="140388"/>
                </a:lnTo>
                <a:lnTo>
                  <a:pt x="285265" y="139115"/>
                </a:lnTo>
                <a:lnTo>
                  <a:pt x="285447" y="137841"/>
                </a:lnTo>
                <a:lnTo>
                  <a:pt x="285508" y="136447"/>
                </a:lnTo>
                <a:lnTo>
                  <a:pt x="285508" y="32626"/>
                </a:lnTo>
              </a:path>
            </a:pathLst>
          </a:custGeom>
          <a:noFill/>
          <a:ln w="19050" cap="flat" cmpd="sng">
            <a:solidFill>
              <a:srgbClr val="FFFFFF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685800" y="3287213"/>
            <a:ext cx="77724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60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6000">
                <a:solidFill>
                  <a:srgbClr val="FFFFFF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6000">
                <a:solidFill>
                  <a:srgbClr val="FFFFFF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6000">
                <a:solidFill>
                  <a:srgbClr val="FFFFFF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6000">
                <a:solidFill>
                  <a:srgbClr val="FFFFFF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6000">
                <a:solidFill>
                  <a:srgbClr val="FFFFFF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6000">
                <a:solidFill>
                  <a:srgbClr val="FFFFFF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6000">
                <a:solidFill>
                  <a:srgbClr val="FFFFFF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None/>
              <a:defRPr sz="6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0"/>
          <p:cNvSpPr txBox="1">
            <a:spLocks noGrp="1"/>
          </p:cNvSpPr>
          <p:nvPr>
            <p:ph type="sldNum" idx="12"/>
          </p:nvPr>
        </p:nvSpPr>
        <p:spPr>
          <a:xfrm>
            <a:off x="8604400" y="4590300"/>
            <a:ext cx="539700" cy="55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r.›</a:t>
            </a:fld>
            <a:endParaRPr/>
          </a:p>
        </p:txBody>
      </p:sp>
      <p:sp>
        <p:nvSpPr>
          <p:cNvPr id="49" name="Google Shape;49;p10"/>
          <p:cNvSpPr/>
          <p:nvPr/>
        </p:nvSpPr>
        <p:spPr>
          <a:xfrm>
            <a:off x="390735" y="379877"/>
            <a:ext cx="8362529" cy="4383746"/>
          </a:xfrm>
          <a:custGeom>
            <a:avLst/>
            <a:gdLst/>
            <a:ahLst/>
            <a:cxnLst/>
            <a:rect l="l" t="t" r="r" b="b"/>
            <a:pathLst>
              <a:path w="285508" h="149667" fill="none" extrusionOk="0">
                <a:moveTo>
                  <a:pt x="252882" y="0"/>
                </a:moveTo>
                <a:lnTo>
                  <a:pt x="13220" y="0"/>
                </a:lnTo>
                <a:lnTo>
                  <a:pt x="13220" y="0"/>
                </a:lnTo>
                <a:lnTo>
                  <a:pt x="11826" y="61"/>
                </a:lnTo>
                <a:lnTo>
                  <a:pt x="10552" y="243"/>
                </a:lnTo>
                <a:lnTo>
                  <a:pt x="9279" y="607"/>
                </a:lnTo>
                <a:lnTo>
                  <a:pt x="8066" y="1031"/>
                </a:lnTo>
                <a:lnTo>
                  <a:pt x="6914" y="1577"/>
                </a:lnTo>
                <a:lnTo>
                  <a:pt x="5822" y="2244"/>
                </a:lnTo>
                <a:lnTo>
                  <a:pt x="4791" y="3032"/>
                </a:lnTo>
                <a:lnTo>
                  <a:pt x="3881" y="3881"/>
                </a:lnTo>
                <a:lnTo>
                  <a:pt x="3032" y="4791"/>
                </a:lnTo>
                <a:lnTo>
                  <a:pt x="2244" y="5822"/>
                </a:lnTo>
                <a:lnTo>
                  <a:pt x="1577" y="6914"/>
                </a:lnTo>
                <a:lnTo>
                  <a:pt x="1031" y="8066"/>
                </a:lnTo>
                <a:lnTo>
                  <a:pt x="607" y="9279"/>
                </a:lnTo>
                <a:lnTo>
                  <a:pt x="243" y="10552"/>
                </a:lnTo>
                <a:lnTo>
                  <a:pt x="61" y="11826"/>
                </a:lnTo>
                <a:lnTo>
                  <a:pt x="0" y="13220"/>
                </a:lnTo>
                <a:lnTo>
                  <a:pt x="0" y="136447"/>
                </a:lnTo>
                <a:lnTo>
                  <a:pt x="0" y="136447"/>
                </a:lnTo>
                <a:lnTo>
                  <a:pt x="61" y="137841"/>
                </a:lnTo>
                <a:lnTo>
                  <a:pt x="243" y="139115"/>
                </a:lnTo>
                <a:lnTo>
                  <a:pt x="607" y="140388"/>
                </a:lnTo>
                <a:lnTo>
                  <a:pt x="1031" y="141601"/>
                </a:lnTo>
                <a:lnTo>
                  <a:pt x="1577" y="142753"/>
                </a:lnTo>
                <a:lnTo>
                  <a:pt x="2244" y="143845"/>
                </a:lnTo>
                <a:lnTo>
                  <a:pt x="3032" y="144876"/>
                </a:lnTo>
                <a:lnTo>
                  <a:pt x="3881" y="145786"/>
                </a:lnTo>
                <a:lnTo>
                  <a:pt x="4791" y="146635"/>
                </a:lnTo>
                <a:lnTo>
                  <a:pt x="5822" y="147423"/>
                </a:lnTo>
                <a:lnTo>
                  <a:pt x="6914" y="148090"/>
                </a:lnTo>
                <a:lnTo>
                  <a:pt x="8066" y="148636"/>
                </a:lnTo>
                <a:lnTo>
                  <a:pt x="9279" y="149060"/>
                </a:lnTo>
                <a:lnTo>
                  <a:pt x="10552" y="149424"/>
                </a:lnTo>
                <a:lnTo>
                  <a:pt x="11826" y="149606"/>
                </a:lnTo>
                <a:lnTo>
                  <a:pt x="13220" y="149667"/>
                </a:lnTo>
                <a:lnTo>
                  <a:pt x="272288" y="149667"/>
                </a:lnTo>
                <a:lnTo>
                  <a:pt x="272288" y="149667"/>
                </a:lnTo>
                <a:lnTo>
                  <a:pt x="273682" y="149606"/>
                </a:lnTo>
                <a:lnTo>
                  <a:pt x="274956" y="149424"/>
                </a:lnTo>
                <a:lnTo>
                  <a:pt x="276229" y="149060"/>
                </a:lnTo>
                <a:lnTo>
                  <a:pt x="277442" y="148636"/>
                </a:lnTo>
                <a:lnTo>
                  <a:pt x="278594" y="148090"/>
                </a:lnTo>
                <a:lnTo>
                  <a:pt x="279686" y="147423"/>
                </a:lnTo>
                <a:lnTo>
                  <a:pt x="280717" y="146635"/>
                </a:lnTo>
                <a:lnTo>
                  <a:pt x="281627" y="145786"/>
                </a:lnTo>
                <a:lnTo>
                  <a:pt x="282476" y="144876"/>
                </a:lnTo>
                <a:lnTo>
                  <a:pt x="283264" y="143845"/>
                </a:lnTo>
                <a:lnTo>
                  <a:pt x="283931" y="142753"/>
                </a:lnTo>
                <a:lnTo>
                  <a:pt x="284477" y="141601"/>
                </a:lnTo>
                <a:lnTo>
                  <a:pt x="284901" y="140388"/>
                </a:lnTo>
                <a:lnTo>
                  <a:pt x="285265" y="139115"/>
                </a:lnTo>
                <a:lnTo>
                  <a:pt x="285447" y="137841"/>
                </a:lnTo>
                <a:lnTo>
                  <a:pt x="285508" y="136447"/>
                </a:lnTo>
                <a:lnTo>
                  <a:pt x="285508" y="32626"/>
                </a:lnTo>
              </a:path>
            </a:pathLst>
          </a:custGeom>
          <a:noFill/>
          <a:ln w="19050" cap="flat" cmpd="sng">
            <a:solidFill>
              <a:srgbClr val="FFB600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bg>
      <p:bgPr>
        <a:solidFill>
          <a:srgbClr val="FFB600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/>
          <p:nvPr/>
        </p:nvSpPr>
        <p:spPr>
          <a:xfrm>
            <a:off x="390735" y="379877"/>
            <a:ext cx="8362529" cy="4383746"/>
          </a:xfrm>
          <a:custGeom>
            <a:avLst/>
            <a:gdLst/>
            <a:ahLst/>
            <a:cxnLst/>
            <a:rect l="l" t="t" r="r" b="b"/>
            <a:pathLst>
              <a:path w="285508" h="149667" fill="none" extrusionOk="0">
                <a:moveTo>
                  <a:pt x="252882" y="0"/>
                </a:moveTo>
                <a:lnTo>
                  <a:pt x="13220" y="0"/>
                </a:lnTo>
                <a:lnTo>
                  <a:pt x="13220" y="0"/>
                </a:lnTo>
                <a:lnTo>
                  <a:pt x="11826" y="61"/>
                </a:lnTo>
                <a:lnTo>
                  <a:pt x="10552" y="243"/>
                </a:lnTo>
                <a:lnTo>
                  <a:pt x="9279" y="607"/>
                </a:lnTo>
                <a:lnTo>
                  <a:pt x="8066" y="1031"/>
                </a:lnTo>
                <a:lnTo>
                  <a:pt x="6914" y="1577"/>
                </a:lnTo>
                <a:lnTo>
                  <a:pt x="5822" y="2244"/>
                </a:lnTo>
                <a:lnTo>
                  <a:pt x="4791" y="3032"/>
                </a:lnTo>
                <a:lnTo>
                  <a:pt x="3881" y="3881"/>
                </a:lnTo>
                <a:lnTo>
                  <a:pt x="3032" y="4791"/>
                </a:lnTo>
                <a:lnTo>
                  <a:pt x="2244" y="5822"/>
                </a:lnTo>
                <a:lnTo>
                  <a:pt x="1577" y="6914"/>
                </a:lnTo>
                <a:lnTo>
                  <a:pt x="1031" y="8066"/>
                </a:lnTo>
                <a:lnTo>
                  <a:pt x="607" y="9279"/>
                </a:lnTo>
                <a:lnTo>
                  <a:pt x="243" y="10552"/>
                </a:lnTo>
                <a:lnTo>
                  <a:pt x="61" y="11826"/>
                </a:lnTo>
                <a:lnTo>
                  <a:pt x="0" y="13220"/>
                </a:lnTo>
                <a:lnTo>
                  <a:pt x="0" y="136447"/>
                </a:lnTo>
                <a:lnTo>
                  <a:pt x="0" y="136447"/>
                </a:lnTo>
                <a:lnTo>
                  <a:pt x="61" y="137841"/>
                </a:lnTo>
                <a:lnTo>
                  <a:pt x="243" y="139115"/>
                </a:lnTo>
                <a:lnTo>
                  <a:pt x="607" y="140388"/>
                </a:lnTo>
                <a:lnTo>
                  <a:pt x="1031" y="141601"/>
                </a:lnTo>
                <a:lnTo>
                  <a:pt x="1577" y="142753"/>
                </a:lnTo>
                <a:lnTo>
                  <a:pt x="2244" y="143845"/>
                </a:lnTo>
                <a:lnTo>
                  <a:pt x="3032" y="144876"/>
                </a:lnTo>
                <a:lnTo>
                  <a:pt x="3881" y="145786"/>
                </a:lnTo>
                <a:lnTo>
                  <a:pt x="4791" y="146635"/>
                </a:lnTo>
                <a:lnTo>
                  <a:pt x="5822" y="147423"/>
                </a:lnTo>
                <a:lnTo>
                  <a:pt x="6914" y="148090"/>
                </a:lnTo>
                <a:lnTo>
                  <a:pt x="8066" y="148636"/>
                </a:lnTo>
                <a:lnTo>
                  <a:pt x="9279" y="149060"/>
                </a:lnTo>
                <a:lnTo>
                  <a:pt x="10552" y="149424"/>
                </a:lnTo>
                <a:lnTo>
                  <a:pt x="11826" y="149606"/>
                </a:lnTo>
                <a:lnTo>
                  <a:pt x="13220" y="149667"/>
                </a:lnTo>
                <a:lnTo>
                  <a:pt x="272288" y="149667"/>
                </a:lnTo>
                <a:lnTo>
                  <a:pt x="272288" y="149667"/>
                </a:lnTo>
                <a:lnTo>
                  <a:pt x="273682" y="149606"/>
                </a:lnTo>
                <a:lnTo>
                  <a:pt x="274956" y="149424"/>
                </a:lnTo>
                <a:lnTo>
                  <a:pt x="276229" y="149060"/>
                </a:lnTo>
                <a:lnTo>
                  <a:pt x="277442" y="148636"/>
                </a:lnTo>
                <a:lnTo>
                  <a:pt x="278594" y="148090"/>
                </a:lnTo>
                <a:lnTo>
                  <a:pt x="279686" y="147423"/>
                </a:lnTo>
                <a:lnTo>
                  <a:pt x="280717" y="146635"/>
                </a:lnTo>
                <a:lnTo>
                  <a:pt x="281627" y="145786"/>
                </a:lnTo>
                <a:lnTo>
                  <a:pt x="282476" y="144876"/>
                </a:lnTo>
                <a:lnTo>
                  <a:pt x="283264" y="143845"/>
                </a:lnTo>
                <a:lnTo>
                  <a:pt x="283931" y="142753"/>
                </a:lnTo>
                <a:lnTo>
                  <a:pt x="284477" y="141601"/>
                </a:lnTo>
                <a:lnTo>
                  <a:pt x="284901" y="140388"/>
                </a:lnTo>
                <a:lnTo>
                  <a:pt x="285265" y="139115"/>
                </a:lnTo>
                <a:lnTo>
                  <a:pt x="285447" y="137841"/>
                </a:lnTo>
                <a:lnTo>
                  <a:pt x="285508" y="136447"/>
                </a:lnTo>
                <a:lnTo>
                  <a:pt x="285508" y="32626"/>
                </a:lnTo>
              </a:path>
            </a:pathLst>
          </a:custGeom>
          <a:noFill/>
          <a:ln w="19050" cap="flat" cmpd="sng">
            <a:solidFill>
              <a:srgbClr val="434343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ctrTitle"/>
          </p:nvPr>
        </p:nvSpPr>
        <p:spPr>
          <a:xfrm>
            <a:off x="685800" y="2726342"/>
            <a:ext cx="77724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ubTitle" idx="1"/>
          </p:nvPr>
        </p:nvSpPr>
        <p:spPr>
          <a:xfrm>
            <a:off x="685800" y="3830653"/>
            <a:ext cx="7772400" cy="78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30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30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30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30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30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30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30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3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52128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solidFill>
          <a:srgbClr val="FFB600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/>
          <p:nvPr/>
        </p:nvSpPr>
        <p:spPr>
          <a:xfrm flipH="1">
            <a:off x="390735" y="379877"/>
            <a:ext cx="8362529" cy="4383746"/>
          </a:xfrm>
          <a:custGeom>
            <a:avLst/>
            <a:gdLst/>
            <a:ahLst/>
            <a:cxnLst/>
            <a:rect l="l" t="t" r="r" b="b"/>
            <a:pathLst>
              <a:path w="285508" h="149667" fill="none" extrusionOk="0">
                <a:moveTo>
                  <a:pt x="252882" y="0"/>
                </a:moveTo>
                <a:lnTo>
                  <a:pt x="13220" y="0"/>
                </a:lnTo>
                <a:lnTo>
                  <a:pt x="13220" y="0"/>
                </a:lnTo>
                <a:lnTo>
                  <a:pt x="11826" y="61"/>
                </a:lnTo>
                <a:lnTo>
                  <a:pt x="10552" y="243"/>
                </a:lnTo>
                <a:lnTo>
                  <a:pt x="9279" y="607"/>
                </a:lnTo>
                <a:lnTo>
                  <a:pt x="8066" y="1031"/>
                </a:lnTo>
                <a:lnTo>
                  <a:pt x="6914" y="1577"/>
                </a:lnTo>
                <a:lnTo>
                  <a:pt x="5822" y="2244"/>
                </a:lnTo>
                <a:lnTo>
                  <a:pt x="4791" y="3032"/>
                </a:lnTo>
                <a:lnTo>
                  <a:pt x="3881" y="3881"/>
                </a:lnTo>
                <a:lnTo>
                  <a:pt x="3032" y="4791"/>
                </a:lnTo>
                <a:lnTo>
                  <a:pt x="2244" y="5822"/>
                </a:lnTo>
                <a:lnTo>
                  <a:pt x="1577" y="6914"/>
                </a:lnTo>
                <a:lnTo>
                  <a:pt x="1031" y="8066"/>
                </a:lnTo>
                <a:lnTo>
                  <a:pt x="607" y="9279"/>
                </a:lnTo>
                <a:lnTo>
                  <a:pt x="243" y="10552"/>
                </a:lnTo>
                <a:lnTo>
                  <a:pt x="61" y="11826"/>
                </a:lnTo>
                <a:lnTo>
                  <a:pt x="0" y="13220"/>
                </a:lnTo>
                <a:lnTo>
                  <a:pt x="0" y="136447"/>
                </a:lnTo>
                <a:lnTo>
                  <a:pt x="0" y="136447"/>
                </a:lnTo>
                <a:lnTo>
                  <a:pt x="61" y="137841"/>
                </a:lnTo>
                <a:lnTo>
                  <a:pt x="243" y="139115"/>
                </a:lnTo>
                <a:lnTo>
                  <a:pt x="607" y="140388"/>
                </a:lnTo>
                <a:lnTo>
                  <a:pt x="1031" y="141601"/>
                </a:lnTo>
                <a:lnTo>
                  <a:pt x="1577" y="142753"/>
                </a:lnTo>
                <a:lnTo>
                  <a:pt x="2244" y="143845"/>
                </a:lnTo>
                <a:lnTo>
                  <a:pt x="3032" y="144876"/>
                </a:lnTo>
                <a:lnTo>
                  <a:pt x="3881" y="145786"/>
                </a:lnTo>
                <a:lnTo>
                  <a:pt x="4791" y="146635"/>
                </a:lnTo>
                <a:lnTo>
                  <a:pt x="5822" y="147423"/>
                </a:lnTo>
                <a:lnTo>
                  <a:pt x="6914" y="148090"/>
                </a:lnTo>
                <a:lnTo>
                  <a:pt x="8066" y="148636"/>
                </a:lnTo>
                <a:lnTo>
                  <a:pt x="9279" y="149060"/>
                </a:lnTo>
                <a:lnTo>
                  <a:pt x="10552" y="149424"/>
                </a:lnTo>
                <a:lnTo>
                  <a:pt x="11826" y="149606"/>
                </a:lnTo>
                <a:lnTo>
                  <a:pt x="13220" y="149667"/>
                </a:lnTo>
                <a:lnTo>
                  <a:pt x="272288" y="149667"/>
                </a:lnTo>
                <a:lnTo>
                  <a:pt x="272288" y="149667"/>
                </a:lnTo>
                <a:lnTo>
                  <a:pt x="273682" y="149606"/>
                </a:lnTo>
                <a:lnTo>
                  <a:pt x="274956" y="149424"/>
                </a:lnTo>
                <a:lnTo>
                  <a:pt x="276229" y="149060"/>
                </a:lnTo>
                <a:lnTo>
                  <a:pt x="277442" y="148636"/>
                </a:lnTo>
                <a:lnTo>
                  <a:pt x="278594" y="148090"/>
                </a:lnTo>
                <a:lnTo>
                  <a:pt x="279686" y="147423"/>
                </a:lnTo>
                <a:lnTo>
                  <a:pt x="280717" y="146635"/>
                </a:lnTo>
                <a:lnTo>
                  <a:pt x="281627" y="145786"/>
                </a:lnTo>
                <a:lnTo>
                  <a:pt x="282476" y="144876"/>
                </a:lnTo>
                <a:lnTo>
                  <a:pt x="283264" y="143845"/>
                </a:lnTo>
                <a:lnTo>
                  <a:pt x="283931" y="142753"/>
                </a:lnTo>
                <a:lnTo>
                  <a:pt x="284477" y="141601"/>
                </a:lnTo>
                <a:lnTo>
                  <a:pt x="284901" y="140388"/>
                </a:lnTo>
                <a:lnTo>
                  <a:pt x="285265" y="139115"/>
                </a:lnTo>
                <a:lnTo>
                  <a:pt x="285447" y="137841"/>
                </a:lnTo>
                <a:lnTo>
                  <a:pt x="285508" y="136447"/>
                </a:lnTo>
                <a:lnTo>
                  <a:pt x="285508" y="32626"/>
                </a:lnTo>
              </a:path>
            </a:pathLst>
          </a:custGeom>
          <a:noFill/>
          <a:ln w="19050" cap="flat" cmpd="sng">
            <a:solidFill>
              <a:srgbClr val="434343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1757200" y="2161800"/>
            <a:ext cx="5629800" cy="819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419100" algn="ctr" rtl="0">
              <a:spcBef>
                <a:spcPts val="600"/>
              </a:spcBef>
              <a:spcAft>
                <a:spcPts val="0"/>
              </a:spcAft>
              <a:buClr>
                <a:srgbClr val="434343"/>
              </a:buClr>
              <a:buSzPts val="3000"/>
              <a:buChar char="●"/>
              <a:defRPr sz="3000" i="1">
                <a:solidFill>
                  <a:srgbClr val="434343"/>
                </a:solidFill>
              </a:defRPr>
            </a:lvl1pPr>
            <a:lvl2pPr marL="914400" lvl="1" indent="-419100" algn="ct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000"/>
              <a:buChar char="○"/>
              <a:defRPr sz="3000" i="1">
                <a:solidFill>
                  <a:srgbClr val="434343"/>
                </a:solidFill>
              </a:defRPr>
            </a:lvl2pPr>
            <a:lvl3pPr marL="1371600" lvl="2" indent="-419100" algn="ct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000"/>
              <a:buChar char="■"/>
              <a:defRPr sz="3000" i="1">
                <a:solidFill>
                  <a:srgbClr val="434343"/>
                </a:solidFill>
              </a:defRPr>
            </a:lvl3pPr>
            <a:lvl4pPr marL="1828800" lvl="3" indent="-419100" algn="ct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000"/>
              <a:buChar char="●"/>
              <a:defRPr sz="3000" i="1">
                <a:solidFill>
                  <a:srgbClr val="434343"/>
                </a:solidFill>
              </a:defRPr>
            </a:lvl4pPr>
            <a:lvl5pPr marL="2286000" lvl="4" indent="-419100" algn="ct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000"/>
              <a:buChar char="○"/>
              <a:defRPr sz="3000" i="1">
                <a:solidFill>
                  <a:srgbClr val="434343"/>
                </a:solidFill>
              </a:defRPr>
            </a:lvl5pPr>
            <a:lvl6pPr marL="2743200" lvl="5" indent="-419100" algn="ct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000"/>
              <a:buChar char="■"/>
              <a:defRPr sz="3000" i="1">
                <a:solidFill>
                  <a:srgbClr val="434343"/>
                </a:solidFill>
              </a:defRPr>
            </a:lvl6pPr>
            <a:lvl7pPr marL="3200400" lvl="6" indent="-419100" algn="ct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000"/>
              <a:buChar char="●"/>
              <a:defRPr sz="3000" i="1">
                <a:solidFill>
                  <a:srgbClr val="434343"/>
                </a:solidFill>
              </a:defRPr>
            </a:lvl7pPr>
            <a:lvl8pPr marL="3657600" lvl="7" indent="-419100" algn="ct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000"/>
              <a:buChar char="○"/>
              <a:defRPr sz="3000" i="1">
                <a:solidFill>
                  <a:srgbClr val="434343"/>
                </a:solidFill>
              </a:defRPr>
            </a:lvl8pPr>
            <a:lvl9pPr marL="4114800" lvl="8" indent="-419100" algn="ctr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000"/>
              <a:buChar char="■"/>
              <a:defRPr sz="3000" i="1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4"/>
          <p:cNvSpPr txBox="1"/>
          <p:nvPr/>
        </p:nvSpPr>
        <p:spPr>
          <a:xfrm>
            <a:off x="205550" y="75075"/>
            <a:ext cx="7995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0" b="1">
                <a:solidFill>
                  <a:srgbClr val="434343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  <a:endParaRPr sz="12000" b="1">
              <a:solidFill>
                <a:srgbClr val="434343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8604400" y="4590300"/>
            <a:ext cx="539700" cy="55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4985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75F1086-8E87-1241-8679-440E0D8D9F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51801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8" imgW="7772400" imgH="10058400" progId="TCLayout.ActiveDocument.1">
                  <p:embed/>
                </p:oleObj>
              </mc:Choice>
              <mc:Fallback>
                <p:oleObj name="think-cell Folie" r:id="rId8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75F1086-8E87-1241-8679-440E0D8D9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22000" y="891775"/>
            <a:ext cx="68661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22000" y="1885951"/>
            <a:ext cx="6866100" cy="236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Clr>
                <a:srgbClr val="FFB600"/>
              </a:buClr>
              <a:buSzPts val="1800"/>
              <a:buFont typeface="Raleway Light"/>
              <a:buChar char="●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1pPr>
            <a:lvl2pPr marL="914400" lvl="1" indent="-342900">
              <a:spcBef>
                <a:spcPts val="0"/>
              </a:spcBef>
              <a:spcAft>
                <a:spcPts val="0"/>
              </a:spcAft>
              <a:buClr>
                <a:srgbClr val="FFB600"/>
              </a:buClr>
              <a:buSzPts val="1800"/>
              <a:buFont typeface="Raleway Light"/>
              <a:buChar char="○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2pPr>
            <a:lvl3pPr marL="1371600" lvl="2" indent="-342900">
              <a:spcBef>
                <a:spcPts val="0"/>
              </a:spcBef>
              <a:spcAft>
                <a:spcPts val="0"/>
              </a:spcAft>
              <a:buClr>
                <a:srgbClr val="FFB600"/>
              </a:buClr>
              <a:buSzPts val="1800"/>
              <a:buFont typeface="Raleway Light"/>
              <a:buChar char="■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3pPr>
            <a:lvl4pPr marL="1828800" lvl="3" indent="-34290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●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4pPr>
            <a:lvl5pPr marL="2286000" lvl="4" indent="-34290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○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5pPr>
            <a:lvl6pPr marL="2743200" lvl="5" indent="-34290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■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6pPr>
            <a:lvl7pPr marL="3200400" lvl="6" indent="-34290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●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7pPr>
            <a:lvl8pPr marL="3657600" lvl="7" indent="-34290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○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8pPr>
            <a:lvl9pPr marL="4114800" lvl="8" indent="-342900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■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604400" y="4590300"/>
            <a:ext cx="539700" cy="55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buNone/>
              <a:defRPr sz="1300">
                <a:solidFill>
                  <a:srgbClr val="FFB600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1pPr>
            <a:lvl2pPr lvl="1" algn="ctr">
              <a:buNone/>
              <a:defRPr sz="1300">
                <a:solidFill>
                  <a:srgbClr val="FFB600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2pPr>
            <a:lvl3pPr lvl="2" algn="ctr">
              <a:buNone/>
              <a:defRPr sz="1300">
                <a:solidFill>
                  <a:srgbClr val="FFB600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3pPr>
            <a:lvl4pPr lvl="3" algn="ctr">
              <a:buNone/>
              <a:defRPr sz="1300">
                <a:solidFill>
                  <a:srgbClr val="FFB600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4pPr>
            <a:lvl5pPr lvl="4" algn="ctr">
              <a:buNone/>
              <a:defRPr sz="1300">
                <a:solidFill>
                  <a:srgbClr val="FFB600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5pPr>
            <a:lvl6pPr lvl="5" algn="ctr">
              <a:buNone/>
              <a:defRPr sz="1300">
                <a:solidFill>
                  <a:srgbClr val="FFB600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6pPr>
            <a:lvl7pPr lvl="6" algn="ctr">
              <a:buNone/>
              <a:defRPr sz="1300">
                <a:solidFill>
                  <a:srgbClr val="FFB600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7pPr>
            <a:lvl8pPr lvl="7" algn="ctr">
              <a:buNone/>
              <a:defRPr sz="1300">
                <a:solidFill>
                  <a:srgbClr val="FFB600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8pPr>
            <a:lvl9pPr lvl="8" algn="ctr">
              <a:buNone/>
              <a:defRPr sz="1300">
                <a:solidFill>
                  <a:srgbClr val="FFB600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r.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6" r:id="rId2"/>
    <p:sldLayoutId id="2147483659" r:id="rId3"/>
    <p:sldLayoutId id="2147483660" r:id="rId4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B82C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7296471-7247-5C49-A123-849476803B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8359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7296471-7247-5C49-A123-849476803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Google Shape;57;p12"/>
          <p:cNvSpPr txBox="1">
            <a:spLocks noGrp="1"/>
          </p:cNvSpPr>
          <p:nvPr>
            <p:ph type="ctrTitle"/>
          </p:nvPr>
        </p:nvSpPr>
        <p:spPr>
          <a:xfrm>
            <a:off x="685800" y="3287213"/>
            <a:ext cx="77724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de-CH" sz="4800" dirty="0"/>
              <a:t>Curriculum</a:t>
            </a:r>
            <a:br>
              <a:rPr lang="de-CH" sz="5400" dirty="0"/>
            </a:br>
            <a:r>
              <a:rPr lang="de-CH" sz="4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raft</a:t>
            </a:r>
            <a:endParaRPr sz="5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8" name="Google Shape;58;p12"/>
          <p:cNvGrpSpPr/>
          <p:nvPr/>
        </p:nvGrpSpPr>
        <p:grpSpPr>
          <a:xfrm>
            <a:off x="7864658" y="371176"/>
            <a:ext cx="896264" cy="896314"/>
            <a:chOff x="570875" y="4322250"/>
            <a:chExt cx="443300" cy="443325"/>
          </a:xfrm>
        </p:grpSpPr>
        <p:sp>
          <p:nvSpPr>
            <p:cNvPr id="59" name="Google Shape;59;p12"/>
            <p:cNvSpPr/>
            <p:nvPr/>
          </p:nvSpPr>
          <p:spPr>
            <a:xfrm>
              <a:off x="570875" y="4322250"/>
              <a:ext cx="443300" cy="443325"/>
            </a:xfrm>
            <a:custGeom>
              <a:avLst/>
              <a:gdLst/>
              <a:ahLst/>
              <a:cxnLst/>
              <a:rect l="l" t="t" r="r" b="b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60;p12"/>
            <p:cNvSpPr/>
            <p:nvPr/>
          </p:nvSpPr>
          <p:spPr>
            <a:xfrm>
              <a:off x="597725" y="4665400"/>
              <a:ext cx="73300" cy="73300"/>
            </a:xfrm>
            <a:custGeom>
              <a:avLst/>
              <a:gdLst/>
              <a:ahLst/>
              <a:cxnLst/>
              <a:rect l="l" t="t" r="r" b="b"/>
              <a:pathLst>
                <a:path w="2932" h="2932" extrusionOk="0">
                  <a:moveTo>
                    <a:pt x="2028" y="1"/>
                  </a:moveTo>
                  <a:lnTo>
                    <a:pt x="1857" y="25"/>
                  </a:lnTo>
                  <a:lnTo>
                    <a:pt x="1686" y="74"/>
                  </a:lnTo>
                  <a:lnTo>
                    <a:pt x="1515" y="147"/>
                  </a:lnTo>
                  <a:lnTo>
                    <a:pt x="1369" y="269"/>
                  </a:lnTo>
                  <a:lnTo>
                    <a:pt x="1222" y="489"/>
                  </a:lnTo>
                  <a:lnTo>
                    <a:pt x="1002" y="831"/>
                  </a:lnTo>
                  <a:lnTo>
                    <a:pt x="563" y="1735"/>
                  </a:lnTo>
                  <a:lnTo>
                    <a:pt x="172" y="2565"/>
                  </a:lnTo>
                  <a:lnTo>
                    <a:pt x="1" y="2932"/>
                  </a:lnTo>
                  <a:lnTo>
                    <a:pt x="1" y="2932"/>
                  </a:lnTo>
                  <a:lnTo>
                    <a:pt x="367" y="2761"/>
                  </a:lnTo>
                  <a:lnTo>
                    <a:pt x="1198" y="2370"/>
                  </a:lnTo>
                  <a:lnTo>
                    <a:pt x="2101" y="1930"/>
                  </a:lnTo>
                  <a:lnTo>
                    <a:pt x="2443" y="1710"/>
                  </a:lnTo>
                  <a:lnTo>
                    <a:pt x="2663" y="1564"/>
                  </a:lnTo>
                  <a:lnTo>
                    <a:pt x="2785" y="1417"/>
                  </a:lnTo>
                  <a:lnTo>
                    <a:pt x="2858" y="1246"/>
                  </a:lnTo>
                  <a:lnTo>
                    <a:pt x="2907" y="1075"/>
                  </a:lnTo>
                  <a:lnTo>
                    <a:pt x="2932" y="904"/>
                  </a:lnTo>
                  <a:lnTo>
                    <a:pt x="2907" y="733"/>
                  </a:lnTo>
                  <a:lnTo>
                    <a:pt x="2858" y="562"/>
                  </a:lnTo>
                  <a:lnTo>
                    <a:pt x="2785" y="416"/>
                  </a:lnTo>
                  <a:lnTo>
                    <a:pt x="2663" y="269"/>
                  </a:lnTo>
                  <a:lnTo>
                    <a:pt x="2517" y="147"/>
                  </a:lnTo>
                  <a:lnTo>
                    <a:pt x="2370" y="74"/>
                  </a:lnTo>
                  <a:lnTo>
                    <a:pt x="2199" y="25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61;p12"/>
            <p:cNvSpPr/>
            <p:nvPr/>
          </p:nvSpPr>
          <p:spPr>
            <a:xfrm>
              <a:off x="654525" y="4708150"/>
              <a:ext cx="47025" cy="47025"/>
            </a:xfrm>
            <a:custGeom>
              <a:avLst/>
              <a:gdLst/>
              <a:ahLst/>
              <a:cxnLst/>
              <a:rect l="l" t="t" r="r" b="b"/>
              <a:pathLst>
                <a:path w="1881" h="1881" extrusionOk="0">
                  <a:moveTo>
                    <a:pt x="1124" y="0"/>
                  </a:moveTo>
                  <a:lnTo>
                    <a:pt x="977" y="25"/>
                  </a:lnTo>
                  <a:lnTo>
                    <a:pt x="831" y="74"/>
                  </a:lnTo>
                  <a:lnTo>
                    <a:pt x="709" y="147"/>
                  </a:lnTo>
                  <a:lnTo>
                    <a:pt x="586" y="245"/>
                  </a:lnTo>
                  <a:lnTo>
                    <a:pt x="464" y="391"/>
                  </a:lnTo>
                  <a:lnTo>
                    <a:pt x="367" y="611"/>
                  </a:lnTo>
                  <a:lnTo>
                    <a:pt x="269" y="880"/>
                  </a:lnTo>
                  <a:lnTo>
                    <a:pt x="171" y="1173"/>
                  </a:lnTo>
                  <a:lnTo>
                    <a:pt x="49" y="1686"/>
                  </a:lnTo>
                  <a:lnTo>
                    <a:pt x="0" y="1881"/>
                  </a:lnTo>
                  <a:lnTo>
                    <a:pt x="0" y="1881"/>
                  </a:lnTo>
                  <a:lnTo>
                    <a:pt x="220" y="1857"/>
                  </a:lnTo>
                  <a:lnTo>
                    <a:pt x="733" y="1710"/>
                  </a:lnTo>
                  <a:lnTo>
                    <a:pt x="1002" y="1637"/>
                  </a:lnTo>
                  <a:lnTo>
                    <a:pt x="1270" y="1539"/>
                  </a:lnTo>
                  <a:lnTo>
                    <a:pt x="1515" y="1417"/>
                  </a:lnTo>
                  <a:lnTo>
                    <a:pt x="1661" y="1319"/>
                  </a:lnTo>
                  <a:lnTo>
                    <a:pt x="1759" y="1197"/>
                  </a:lnTo>
                  <a:lnTo>
                    <a:pt x="1832" y="1051"/>
                  </a:lnTo>
                  <a:lnTo>
                    <a:pt x="1881" y="928"/>
                  </a:lnTo>
                  <a:lnTo>
                    <a:pt x="1881" y="782"/>
                  </a:lnTo>
                  <a:lnTo>
                    <a:pt x="1881" y="635"/>
                  </a:lnTo>
                  <a:lnTo>
                    <a:pt x="1832" y="489"/>
                  </a:lnTo>
                  <a:lnTo>
                    <a:pt x="1759" y="367"/>
                  </a:lnTo>
                  <a:lnTo>
                    <a:pt x="1661" y="245"/>
                  </a:lnTo>
                  <a:lnTo>
                    <a:pt x="1539" y="147"/>
                  </a:lnTo>
                  <a:lnTo>
                    <a:pt x="1417" y="74"/>
                  </a:lnTo>
                  <a:lnTo>
                    <a:pt x="1270" y="25"/>
                  </a:lnTo>
                  <a:lnTo>
                    <a:pt x="112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62;p12"/>
            <p:cNvSpPr/>
            <p:nvPr/>
          </p:nvSpPr>
          <p:spPr>
            <a:xfrm>
              <a:off x="581250" y="4634875"/>
              <a:ext cx="47050" cy="47050"/>
            </a:xfrm>
            <a:custGeom>
              <a:avLst/>
              <a:gdLst/>
              <a:ahLst/>
              <a:cxnLst/>
              <a:rect l="l" t="t" r="r" b="b"/>
              <a:pathLst>
                <a:path w="1882" h="1882" extrusionOk="0">
                  <a:moveTo>
                    <a:pt x="953" y="1"/>
                  </a:moveTo>
                  <a:lnTo>
                    <a:pt x="831" y="49"/>
                  </a:lnTo>
                  <a:lnTo>
                    <a:pt x="684" y="123"/>
                  </a:lnTo>
                  <a:lnTo>
                    <a:pt x="562" y="220"/>
                  </a:lnTo>
                  <a:lnTo>
                    <a:pt x="465" y="367"/>
                  </a:lnTo>
                  <a:lnTo>
                    <a:pt x="342" y="611"/>
                  </a:lnTo>
                  <a:lnTo>
                    <a:pt x="245" y="880"/>
                  </a:lnTo>
                  <a:lnTo>
                    <a:pt x="171" y="1148"/>
                  </a:lnTo>
                  <a:lnTo>
                    <a:pt x="25" y="1661"/>
                  </a:lnTo>
                  <a:lnTo>
                    <a:pt x="1" y="1881"/>
                  </a:lnTo>
                  <a:lnTo>
                    <a:pt x="196" y="1832"/>
                  </a:lnTo>
                  <a:lnTo>
                    <a:pt x="709" y="1710"/>
                  </a:lnTo>
                  <a:lnTo>
                    <a:pt x="1002" y="1613"/>
                  </a:lnTo>
                  <a:lnTo>
                    <a:pt x="1271" y="1515"/>
                  </a:lnTo>
                  <a:lnTo>
                    <a:pt x="1490" y="1417"/>
                  </a:lnTo>
                  <a:lnTo>
                    <a:pt x="1637" y="1295"/>
                  </a:lnTo>
                  <a:lnTo>
                    <a:pt x="1735" y="1173"/>
                  </a:lnTo>
                  <a:lnTo>
                    <a:pt x="1808" y="1051"/>
                  </a:lnTo>
                  <a:lnTo>
                    <a:pt x="1857" y="904"/>
                  </a:lnTo>
                  <a:lnTo>
                    <a:pt x="1881" y="758"/>
                  </a:lnTo>
                  <a:lnTo>
                    <a:pt x="1857" y="611"/>
                  </a:lnTo>
                  <a:lnTo>
                    <a:pt x="1808" y="465"/>
                  </a:lnTo>
                  <a:lnTo>
                    <a:pt x="1735" y="343"/>
                  </a:lnTo>
                  <a:lnTo>
                    <a:pt x="1637" y="220"/>
                  </a:lnTo>
                  <a:lnTo>
                    <a:pt x="1515" y="123"/>
                  </a:lnTo>
                  <a:lnTo>
                    <a:pt x="1393" y="49"/>
                  </a:lnTo>
                  <a:lnTo>
                    <a:pt x="124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B82C"/>
        </a:solid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5"/>
          <p:cNvSpPr txBox="1">
            <a:spLocks noGrp="1"/>
          </p:cNvSpPr>
          <p:nvPr>
            <p:ph type="ctrTitle"/>
          </p:nvPr>
        </p:nvSpPr>
        <p:spPr>
          <a:xfrm>
            <a:off x="685800" y="2726342"/>
            <a:ext cx="77724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de-CH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Analysis Approach</a:t>
            </a:r>
            <a:endParaRPr dirty="0"/>
          </a:p>
        </p:txBody>
      </p:sp>
      <p:sp>
        <p:nvSpPr>
          <p:cNvPr id="89" name="Google Shape;89;p15"/>
          <p:cNvSpPr txBox="1">
            <a:spLocks noGrp="1"/>
          </p:cNvSpPr>
          <p:nvPr>
            <p:ph type="subTitle" idx="1"/>
          </p:nvPr>
        </p:nvSpPr>
        <p:spPr>
          <a:xfrm>
            <a:off x="685800" y="3830653"/>
            <a:ext cx="7772400" cy="78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Why are we doing this project? Why is there a “need”?</a:t>
            </a:r>
            <a:endParaRPr dirty="0"/>
          </a:p>
        </p:txBody>
      </p:sp>
      <p:sp>
        <p:nvSpPr>
          <p:cNvPr id="90" name="Google Shape;90;p15"/>
          <p:cNvSpPr txBox="1"/>
          <p:nvPr/>
        </p:nvSpPr>
        <p:spPr>
          <a:xfrm>
            <a:off x="7811325" y="0"/>
            <a:ext cx="960900" cy="13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6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rPr>
              <a:t>1</a:t>
            </a:r>
            <a:endParaRPr sz="9600">
              <a:solidFill>
                <a:srgbClr val="434343"/>
              </a:solidFill>
              <a:latin typeface="Raleway ExtraBold"/>
              <a:ea typeface="Raleway ExtraBold"/>
              <a:cs typeface="Raleway ExtraBold"/>
              <a:sym typeface="Raleway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24299013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201E928-C7ED-AB41-8A17-A9857DBEBB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23302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201E928-C7ED-AB41-8A17-A9857DBEB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Google Shape;114;p18"/>
          <p:cNvSpPr txBox="1">
            <a:spLocks noGrp="1"/>
          </p:cNvSpPr>
          <p:nvPr>
            <p:ph type="ctrTitle" idx="4294967295"/>
          </p:nvPr>
        </p:nvSpPr>
        <p:spPr>
          <a:xfrm>
            <a:off x="685800" y="816751"/>
            <a:ext cx="7177444" cy="698568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CH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Analysis Approach «Needs»</a:t>
            </a:r>
            <a:br>
              <a:rPr lang="de-CH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CH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ject Initiation</a:t>
            </a:r>
            <a:endParaRPr sz="2800" dirty="0">
              <a:solidFill>
                <a:srgbClr val="FFB600"/>
              </a:solidFill>
            </a:endParaRPr>
          </a:p>
        </p:txBody>
      </p:sp>
      <p:sp>
        <p:nvSpPr>
          <p:cNvPr id="129" name="Google Shape;129;p18"/>
          <p:cNvSpPr txBox="1">
            <a:spLocks noGrp="1"/>
          </p:cNvSpPr>
          <p:nvPr>
            <p:ph type="sldNum" idx="12"/>
          </p:nvPr>
        </p:nvSpPr>
        <p:spPr>
          <a:xfrm>
            <a:off x="8604400" y="4590300"/>
            <a:ext cx="539700" cy="55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</a:t>
            </a:fld>
            <a:endParaRPr/>
          </a:p>
        </p:txBody>
      </p:sp>
      <p:grpSp>
        <p:nvGrpSpPr>
          <p:cNvPr id="20" name="Google Shape;503;p38">
            <a:extLst>
              <a:ext uri="{FF2B5EF4-FFF2-40B4-BE49-F238E27FC236}">
                <a16:creationId xmlns:a16="http://schemas.microsoft.com/office/drawing/2014/main" id="{0379FFFA-1D4B-7A46-B3CF-FEB62D8800BF}"/>
              </a:ext>
            </a:extLst>
          </p:cNvPr>
          <p:cNvGrpSpPr/>
          <p:nvPr/>
        </p:nvGrpSpPr>
        <p:grpSpPr>
          <a:xfrm>
            <a:off x="7885343" y="492384"/>
            <a:ext cx="790976" cy="679794"/>
            <a:chOff x="6625350" y="1613750"/>
            <a:chExt cx="480525" cy="438400"/>
          </a:xfrm>
        </p:grpSpPr>
        <p:sp>
          <p:nvSpPr>
            <p:cNvPr id="21" name="Google Shape;504;p38">
              <a:extLst>
                <a:ext uri="{FF2B5EF4-FFF2-40B4-BE49-F238E27FC236}">
                  <a16:creationId xmlns:a16="http://schemas.microsoft.com/office/drawing/2014/main" id="{861F1E97-49EF-7B42-ACFF-828D349BF13D}"/>
                </a:ext>
              </a:extLst>
            </p:cNvPr>
            <p:cNvSpPr/>
            <p:nvPr/>
          </p:nvSpPr>
          <p:spPr>
            <a:xfrm>
              <a:off x="6670525" y="1887275"/>
              <a:ext cx="117875" cy="164875"/>
            </a:xfrm>
            <a:custGeom>
              <a:avLst/>
              <a:gdLst/>
              <a:ahLst/>
              <a:cxnLst/>
              <a:rect l="l" t="t" r="r" b="b"/>
              <a:pathLst>
                <a:path w="4715" h="6595" extrusionOk="0">
                  <a:moveTo>
                    <a:pt x="0" y="1"/>
                  </a:moveTo>
                  <a:lnTo>
                    <a:pt x="538" y="6058"/>
                  </a:lnTo>
                  <a:lnTo>
                    <a:pt x="562" y="6180"/>
                  </a:lnTo>
                  <a:lnTo>
                    <a:pt x="587" y="6277"/>
                  </a:lnTo>
                  <a:lnTo>
                    <a:pt x="660" y="6351"/>
                  </a:lnTo>
                  <a:lnTo>
                    <a:pt x="733" y="6448"/>
                  </a:lnTo>
                  <a:lnTo>
                    <a:pt x="806" y="6497"/>
                  </a:lnTo>
                  <a:lnTo>
                    <a:pt x="904" y="6546"/>
                  </a:lnTo>
                  <a:lnTo>
                    <a:pt x="1002" y="6571"/>
                  </a:lnTo>
                  <a:lnTo>
                    <a:pt x="1124" y="6595"/>
                  </a:lnTo>
                  <a:lnTo>
                    <a:pt x="4128" y="6595"/>
                  </a:lnTo>
                  <a:lnTo>
                    <a:pt x="4274" y="6571"/>
                  </a:lnTo>
                  <a:lnTo>
                    <a:pt x="4397" y="6522"/>
                  </a:lnTo>
                  <a:lnTo>
                    <a:pt x="4494" y="6473"/>
                  </a:lnTo>
                  <a:lnTo>
                    <a:pt x="4592" y="6375"/>
                  </a:lnTo>
                  <a:lnTo>
                    <a:pt x="4665" y="6253"/>
                  </a:lnTo>
                  <a:lnTo>
                    <a:pt x="4714" y="6155"/>
                  </a:lnTo>
                  <a:lnTo>
                    <a:pt x="4714" y="6009"/>
                  </a:lnTo>
                  <a:lnTo>
                    <a:pt x="4714" y="5887"/>
                  </a:lnTo>
                  <a:lnTo>
                    <a:pt x="3713" y="123"/>
                  </a:lnTo>
                  <a:lnTo>
                    <a:pt x="2589" y="50"/>
                  </a:lnTo>
                  <a:lnTo>
                    <a:pt x="1637" y="2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505;p38">
              <a:extLst>
                <a:ext uri="{FF2B5EF4-FFF2-40B4-BE49-F238E27FC236}">
                  <a16:creationId xmlns:a16="http://schemas.microsoft.com/office/drawing/2014/main" id="{0BAC6545-AA24-024A-9BB6-711A856FF01B}"/>
                </a:ext>
              </a:extLst>
            </p:cNvPr>
            <p:cNvSpPr/>
            <p:nvPr/>
          </p:nvSpPr>
          <p:spPr>
            <a:xfrm>
              <a:off x="7075950" y="1754175"/>
              <a:ext cx="29925" cy="99550"/>
            </a:xfrm>
            <a:custGeom>
              <a:avLst/>
              <a:gdLst/>
              <a:ahLst/>
              <a:cxnLst/>
              <a:rect l="l" t="t" r="r" b="b"/>
              <a:pathLst>
                <a:path w="1197" h="3982" extrusionOk="0">
                  <a:moveTo>
                    <a:pt x="0" y="1"/>
                  </a:moveTo>
                  <a:lnTo>
                    <a:pt x="0" y="3981"/>
                  </a:lnTo>
                  <a:lnTo>
                    <a:pt x="269" y="3811"/>
                  </a:lnTo>
                  <a:lnTo>
                    <a:pt x="489" y="3615"/>
                  </a:lnTo>
                  <a:lnTo>
                    <a:pt x="684" y="3420"/>
                  </a:lnTo>
                  <a:lnTo>
                    <a:pt x="855" y="3176"/>
                  </a:lnTo>
                  <a:lnTo>
                    <a:pt x="1002" y="2907"/>
                  </a:lnTo>
                  <a:lnTo>
                    <a:pt x="1099" y="2614"/>
                  </a:lnTo>
                  <a:lnTo>
                    <a:pt x="1173" y="2296"/>
                  </a:lnTo>
                  <a:lnTo>
                    <a:pt x="1197" y="1979"/>
                  </a:lnTo>
                  <a:lnTo>
                    <a:pt x="1173" y="1661"/>
                  </a:lnTo>
                  <a:lnTo>
                    <a:pt x="1099" y="1368"/>
                  </a:lnTo>
                  <a:lnTo>
                    <a:pt x="1002" y="1075"/>
                  </a:lnTo>
                  <a:lnTo>
                    <a:pt x="855" y="806"/>
                  </a:lnTo>
                  <a:lnTo>
                    <a:pt x="684" y="562"/>
                  </a:lnTo>
                  <a:lnTo>
                    <a:pt x="489" y="342"/>
                  </a:lnTo>
                  <a:lnTo>
                    <a:pt x="269" y="17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506;p38">
              <a:extLst>
                <a:ext uri="{FF2B5EF4-FFF2-40B4-BE49-F238E27FC236}">
                  <a16:creationId xmlns:a16="http://schemas.microsoft.com/office/drawing/2014/main" id="{BC1B34C5-055D-F145-93F4-B2EF342809CF}"/>
                </a:ext>
              </a:extLst>
            </p:cNvPr>
            <p:cNvSpPr/>
            <p:nvPr/>
          </p:nvSpPr>
          <p:spPr>
            <a:xfrm>
              <a:off x="6625350" y="1729750"/>
              <a:ext cx="97700" cy="147175"/>
            </a:xfrm>
            <a:custGeom>
              <a:avLst/>
              <a:gdLst/>
              <a:ahLst/>
              <a:cxnLst/>
              <a:rect l="l" t="t" r="r" b="b"/>
              <a:pathLst>
                <a:path w="3908" h="5887" extrusionOk="0">
                  <a:moveTo>
                    <a:pt x="3908" y="1"/>
                  </a:moveTo>
                  <a:lnTo>
                    <a:pt x="2711" y="25"/>
                  </a:lnTo>
                  <a:lnTo>
                    <a:pt x="1759" y="25"/>
                  </a:lnTo>
                  <a:lnTo>
                    <a:pt x="1588" y="49"/>
                  </a:lnTo>
                  <a:lnTo>
                    <a:pt x="1417" y="74"/>
                  </a:lnTo>
                  <a:lnTo>
                    <a:pt x="1246" y="123"/>
                  </a:lnTo>
                  <a:lnTo>
                    <a:pt x="1099" y="172"/>
                  </a:lnTo>
                  <a:lnTo>
                    <a:pt x="953" y="245"/>
                  </a:lnTo>
                  <a:lnTo>
                    <a:pt x="806" y="343"/>
                  </a:lnTo>
                  <a:lnTo>
                    <a:pt x="660" y="440"/>
                  </a:lnTo>
                  <a:lnTo>
                    <a:pt x="537" y="562"/>
                  </a:lnTo>
                  <a:lnTo>
                    <a:pt x="415" y="684"/>
                  </a:lnTo>
                  <a:lnTo>
                    <a:pt x="318" y="831"/>
                  </a:lnTo>
                  <a:lnTo>
                    <a:pt x="220" y="978"/>
                  </a:lnTo>
                  <a:lnTo>
                    <a:pt x="147" y="1124"/>
                  </a:lnTo>
                  <a:lnTo>
                    <a:pt x="73" y="1295"/>
                  </a:lnTo>
                  <a:lnTo>
                    <a:pt x="49" y="1442"/>
                  </a:lnTo>
                  <a:lnTo>
                    <a:pt x="0" y="1613"/>
                  </a:lnTo>
                  <a:lnTo>
                    <a:pt x="0" y="1783"/>
                  </a:lnTo>
                  <a:lnTo>
                    <a:pt x="0" y="4128"/>
                  </a:lnTo>
                  <a:lnTo>
                    <a:pt x="0" y="4299"/>
                  </a:lnTo>
                  <a:lnTo>
                    <a:pt x="49" y="4446"/>
                  </a:lnTo>
                  <a:lnTo>
                    <a:pt x="73" y="4617"/>
                  </a:lnTo>
                  <a:lnTo>
                    <a:pt x="147" y="4763"/>
                  </a:lnTo>
                  <a:lnTo>
                    <a:pt x="220" y="4934"/>
                  </a:lnTo>
                  <a:lnTo>
                    <a:pt x="318" y="5081"/>
                  </a:lnTo>
                  <a:lnTo>
                    <a:pt x="415" y="5203"/>
                  </a:lnTo>
                  <a:lnTo>
                    <a:pt x="537" y="5325"/>
                  </a:lnTo>
                  <a:lnTo>
                    <a:pt x="660" y="5447"/>
                  </a:lnTo>
                  <a:lnTo>
                    <a:pt x="806" y="5545"/>
                  </a:lnTo>
                  <a:lnTo>
                    <a:pt x="953" y="5642"/>
                  </a:lnTo>
                  <a:lnTo>
                    <a:pt x="1099" y="5716"/>
                  </a:lnTo>
                  <a:lnTo>
                    <a:pt x="1246" y="5789"/>
                  </a:lnTo>
                  <a:lnTo>
                    <a:pt x="1417" y="5838"/>
                  </a:lnTo>
                  <a:lnTo>
                    <a:pt x="1588" y="5862"/>
                  </a:lnTo>
                  <a:lnTo>
                    <a:pt x="1759" y="5862"/>
                  </a:lnTo>
                  <a:lnTo>
                    <a:pt x="2711" y="5887"/>
                  </a:lnTo>
                  <a:lnTo>
                    <a:pt x="3908" y="5887"/>
                  </a:lnTo>
                  <a:lnTo>
                    <a:pt x="3908" y="1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507;p38">
              <a:extLst>
                <a:ext uri="{FF2B5EF4-FFF2-40B4-BE49-F238E27FC236}">
                  <a16:creationId xmlns:a16="http://schemas.microsoft.com/office/drawing/2014/main" id="{D5DBABFB-323C-4D4E-A77A-CF4F9917C3F3}"/>
                </a:ext>
              </a:extLst>
            </p:cNvPr>
            <p:cNvSpPr/>
            <p:nvPr/>
          </p:nvSpPr>
          <p:spPr>
            <a:xfrm>
              <a:off x="6736475" y="1638175"/>
              <a:ext cx="279650" cy="330325"/>
            </a:xfrm>
            <a:custGeom>
              <a:avLst/>
              <a:gdLst/>
              <a:ahLst/>
              <a:cxnLst/>
              <a:rect l="l" t="t" r="r" b="b"/>
              <a:pathLst>
                <a:path w="11186" h="13213" extrusionOk="0">
                  <a:moveTo>
                    <a:pt x="11186" y="0"/>
                  </a:moveTo>
                  <a:lnTo>
                    <a:pt x="10771" y="342"/>
                  </a:lnTo>
                  <a:lnTo>
                    <a:pt x="10380" y="635"/>
                  </a:lnTo>
                  <a:lnTo>
                    <a:pt x="9940" y="904"/>
                  </a:lnTo>
                  <a:lnTo>
                    <a:pt x="9525" y="1172"/>
                  </a:lnTo>
                  <a:lnTo>
                    <a:pt x="9110" y="1417"/>
                  </a:lnTo>
                  <a:lnTo>
                    <a:pt x="8695" y="1661"/>
                  </a:lnTo>
                  <a:lnTo>
                    <a:pt x="7840" y="2052"/>
                  </a:lnTo>
                  <a:lnTo>
                    <a:pt x="7034" y="2418"/>
                  </a:lnTo>
                  <a:lnTo>
                    <a:pt x="6228" y="2687"/>
                  </a:lnTo>
                  <a:lnTo>
                    <a:pt x="5471" y="2931"/>
                  </a:lnTo>
                  <a:lnTo>
                    <a:pt x="4763" y="3126"/>
                  </a:lnTo>
                  <a:lnTo>
                    <a:pt x="4225" y="3248"/>
                  </a:lnTo>
                  <a:lnTo>
                    <a:pt x="3664" y="3346"/>
                  </a:lnTo>
                  <a:lnTo>
                    <a:pt x="3077" y="3419"/>
                  </a:lnTo>
                  <a:lnTo>
                    <a:pt x="2467" y="3493"/>
                  </a:lnTo>
                  <a:lnTo>
                    <a:pt x="1221" y="3590"/>
                  </a:lnTo>
                  <a:lnTo>
                    <a:pt x="0" y="3664"/>
                  </a:lnTo>
                  <a:lnTo>
                    <a:pt x="0" y="9574"/>
                  </a:lnTo>
                  <a:lnTo>
                    <a:pt x="1221" y="9623"/>
                  </a:lnTo>
                  <a:lnTo>
                    <a:pt x="2467" y="9721"/>
                  </a:lnTo>
                  <a:lnTo>
                    <a:pt x="3077" y="9794"/>
                  </a:lnTo>
                  <a:lnTo>
                    <a:pt x="3664" y="9891"/>
                  </a:lnTo>
                  <a:lnTo>
                    <a:pt x="4225" y="9989"/>
                  </a:lnTo>
                  <a:lnTo>
                    <a:pt x="4763" y="10111"/>
                  </a:lnTo>
                  <a:lnTo>
                    <a:pt x="5471" y="10307"/>
                  </a:lnTo>
                  <a:lnTo>
                    <a:pt x="6228" y="10526"/>
                  </a:lnTo>
                  <a:lnTo>
                    <a:pt x="7034" y="10820"/>
                  </a:lnTo>
                  <a:lnTo>
                    <a:pt x="7840" y="11161"/>
                  </a:lnTo>
                  <a:lnTo>
                    <a:pt x="8695" y="11577"/>
                  </a:lnTo>
                  <a:lnTo>
                    <a:pt x="9110" y="11796"/>
                  </a:lnTo>
                  <a:lnTo>
                    <a:pt x="9525" y="12041"/>
                  </a:lnTo>
                  <a:lnTo>
                    <a:pt x="9940" y="12309"/>
                  </a:lnTo>
                  <a:lnTo>
                    <a:pt x="10380" y="12602"/>
                  </a:lnTo>
                  <a:lnTo>
                    <a:pt x="10771" y="12896"/>
                  </a:lnTo>
                  <a:lnTo>
                    <a:pt x="11186" y="13213"/>
                  </a:lnTo>
                  <a:lnTo>
                    <a:pt x="11186" y="0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508;p38">
              <a:extLst>
                <a:ext uri="{FF2B5EF4-FFF2-40B4-BE49-F238E27FC236}">
                  <a16:creationId xmlns:a16="http://schemas.microsoft.com/office/drawing/2014/main" id="{7402EDBF-72EE-6D4A-9C6A-AFBF0780B80F}"/>
                </a:ext>
              </a:extLst>
            </p:cNvPr>
            <p:cNvSpPr/>
            <p:nvPr/>
          </p:nvSpPr>
          <p:spPr>
            <a:xfrm>
              <a:off x="7029550" y="1613750"/>
              <a:ext cx="34200" cy="379800"/>
            </a:xfrm>
            <a:custGeom>
              <a:avLst/>
              <a:gdLst/>
              <a:ahLst/>
              <a:cxnLst/>
              <a:rect l="l" t="t" r="r" b="b"/>
              <a:pathLst>
                <a:path w="1368" h="15192" extrusionOk="0">
                  <a:moveTo>
                    <a:pt x="684" y="0"/>
                  </a:moveTo>
                  <a:lnTo>
                    <a:pt x="562" y="25"/>
                  </a:lnTo>
                  <a:lnTo>
                    <a:pt x="464" y="98"/>
                  </a:lnTo>
                  <a:lnTo>
                    <a:pt x="366" y="171"/>
                  </a:lnTo>
                  <a:lnTo>
                    <a:pt x="0" y="513"/>
                  </a:lnTo>
                  <a:lnTo>
                    <a:pt x="0" y="14654"/>
                  </a:lnTo>
                  <a:lnTo>
                    <a:pt x="366" y="15020"/>
                  </a:lnTo>
                  <a:lnTo>
                    <a:pt x="464" y="15094"/>
                  </a:lnTo>
                  <a:lnTo>
                    <a:pt x="562" y="15143"/>
                  </a:lnTo>
                  <a:lnTo>
                    <a:pt x="684" y="15191"/>
                  </a:lnTo>
                  <a:lnTo>
                    <a:pt x="904" y="15191"/>
                  </a:lnTo>
                  <a:lnTo>
                    <a:pt x="1001" y="15143"/>
                  </a:lnTo>
                  <a:lnTo>
                    <a:pt x="1148" y="15045"/>
                  </a:lnTo>
                  <a:lnTo>
                    <a:pt x="1270" y="14923"/>
                  </a:lnTo>
                  <a:lnTo>
                    <a:pt x="1343" y="14776"/>
                  </a:lnTo>
                  <a:lnTo>
                    <a:pt x="1368" y="14605"/>
                  </a:lnTo>
                  <a:lnTo>
                    <a:pt x="1368" y="586"/>
                  </a:lnTo>
                  <a:lnTo>
                    <a:pt x="1343" y="415"/>
                  </a:lnTo>
                  <a:lnTo>
                    <a:pt x="1270" y="244"/>
                  </a:lnTo>
                  <a:lnTo>
                    <a:pt x="1148" y="122"/>
                  </a:lnTo>
                  <a:lnTo>
                    <a:pt x="1001" y="25"/>
                  </a:lnTo>
                  <a:lnTo>
                    <a:pt x="904" y="0"/>
                  </a:lnTo>
                  <a:close/>
                </a:path>
              </a:pathLst>
            </a:custGeom>
            <a:solidFill>
              <a:srgbClr val="FFB6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2B00266C-00BA-2F40-8790-AC90ECC0AA54}"/>
              </a:ext>
            </a:extLst>
          </p:cNvPr>
          <p:cNvSpPr txBox="1"/>
          <p:nvPr/>
        </p:nvSpPr>
        <p:spPr>
          <a:xfrm>
            <a:off x="829340" y="2166141"/>
            <a:ext cx="784697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u="sng" dirty="0"/>
              <a:t>Project Topic</a:t>
            </a:r>
            <a:r>
              <a:rPr lang="de-DE" dirty="0"/>
              <a:t>		„New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ructuring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			</a:t>
            </a:r>
            <a:r>
              <a:rPr lang="de-DE" dirty="0" err="1"/>
              <a:t>BSc</a:t>
            </a:r>
            <a:r>
              <a:rPr lang="de-DE" dirty="0"/>
              <a:t> </a:t>
            </a:r>
            <a:r>
              <a:rPr lang="de-DE" dirty="0" err="1"/>
              <a:t>Programming</a:t>
            </a:r>
            <a:r>
              <a:rPr lang="de-DE" dirty="0"/>
              <a:t> Course at FHNW“</a:t>
            </a:r>
          </a:p>
          <a:p>
            <a:endParaRPr lang="de-DE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u="sng" dirty="0"/>
              <a:t>Project Initiator: </a:t>
            </a:r>
            <a:r>
              <a:rPr lang="de-DE" dirty="0"/>
              <a:t>		Dr. Knut </a:t>
            </a:r>
            <a:r>
              <a:rPr lang="de-DE" dirty="0" err="1"/>
              <a:t>Hinkelmann</a:t>
            </a:r>
            <a:r>
              <a:rPr lang="de-DE" dirty="0"/>
              <a:t> (Head </a:t>
            </a:r>
            <a:r>
              <a:rPr lang="de-DE" dirty="0" err="1"/>
              <a:t>of</a:t>
            </a:r>
            <a:r>
              <a:rPr lang="de-DE" dirty="0"/>
              <a:t> BIS </a:t>
            </a:r>
            <a:r>
              <a:rPr lang="de-DE" dirty="0" err="1"/>
              <a:t>Msc</a:t>
            </a:r>
            <a:r>
              <a:rPr lang="de-DE" dirty="0"/>
              <a:t> </a:t>
            </a:r>
            <a:r>
              <a:rPr lang="de-DE" dirty="0" err="1"/>
              <a:t>degree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u="sng" dirty="0" err="1"/>
              <a:t>Objectives</a:t>
            </a:r>
            <a:r>
              <a:rPr lang="de-DE" b="1" u="sng" dirty="0"/>
              <a:t>:</a:t>
            </a:r>
            <a:r>
              <a:rPr lang="de-DE" dirty="0"/>
              <a:t>		</a:t>
            </a:r>
            <a:r>
              <a:rPr lang="de-DE" dirty="0" err="1"/>
              <a:t>understand</a:t>
            </a:r>
            <a:r>
              <a:rPr lang="de-DE" dirty="0"/>
              <a:t> </a:t>
            </a:r>
            <a:r>
              <a:rPr lang="de-DE" dirty="0" err="1"/>
              <a:t>painpoints</a:t>
            </a:r>
            <a:r>
              <a:rPr lang="de-DE" dirty="0"/>
              <a:t> </a:t>
            </a:r>
            <a:r>
              <a:rPr lang="de-DE" dirty="0" err="1"/>
              <a:t>perceiv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lecture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udents</a:t>
            </a:r>
            <a:br>
              <a:rPr lang="de-DE" dirty="0"/>
            </a:br>
            <a:br>
              <a:rPr lang="de-DE" dirty="0"/>
            </a:br>
            <a:r>
              <a:rPr lang="de-DE" dirty="0"/>
              <a:t>			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(</a:t>
            </a:r>
            <a:r>
              <a:rPr lang="de-DE" dirty="0" err="1"/>
              <a:t>journey</a:t>
            </a:r>
            <a:r>
              <a:rPr lang="de-DE" dirty="0"/>
              <a:t>)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			</a:t>
            </a:r>
            <a:r>
              <a:rPr lang="de-DE" dirty="0" err="1"/>
              <a:t>BSc</a:t>
            </a:r>
            <a:r>
              <a:rPr lang="de-DE" dirty="0"/>
              <a:t> </a:t>
            </a:r>
            <a:r>
              <a:rPr lang="de-DE" dirty="0" err="1"/>
              <a:t>programing</a:t>
            </a:r>
            <a:r>
              <a:rPr lang="de-DE" dirty="0"/>
              <a:t> in </a:t>
            </a:r>
            <a:r>
              <a:rPr lang="de-DE" dirty="0" err="1"/>
              <a:t>Programming</a:t>
            </a:r>
            <a:endParaRPr lang="de-DE" dirty="0"/>
          </a:p>
          <a:p>
            <a:pPr lvl="5"/>
            <a:r>
              <a:rPr lang="de-DE" dirty="0"/>
              <a:t>	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2641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B82C"/>
        </a:solidFill>
        <a:effectLst/>
      </p:bgPr>
    </p:bg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6"/>
          <p:cNvSpPr txBox="1">
            <a:spLocks noGrp="1"/>
          </p:cNvSpPr>
          <p:nvPr>
            <p:ph type="body" idx="1"/>
          </p:nvPr>
        </p:nvSpPr>
        <p:spPr>
          <a:xfrm>
            <a:off x="1757200" y="2161800"/>
            <a:ext cx="5629800" cy="819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buNone/>
            </a:pPr>
            <a:r>
              <a:rPr lang="en-US" dirty="0"/>
              <a:t>According to IWSB (2018) report, about 85,000 IT jobs in Switzerland cannot be filled</a:t>
            </a:r>
          </a:p>
          <a:p>
            <a:pPr marL="0" lvl="0" indent="0">
              <a:buNone/>
            </a:pPr>
            <a:r>
              <a:rPr lang="en-US" dirty="0"/>
              <a:t>due to a lack of IT graduates.</a:t>
            </a:r>
            <a:endParaRPr dirty="0"/>
          </a:p>
        </p:txBody>
      </p:sp>
      <p:sp>
        <p:nvSpPr>
          <p:cNvPr id="96" name="Google Shape;96;p16"/>
          <p:cNvSpPr txBox="1">
            <a:spLocks noGrp="1"/>
          </p:cNvSpPr>
          <p:nvPr>
            <p:ph type="sldNum" idx="12"/>
          </p:nvPr>
        </p:nvSpPr>
        <p:spPr>
          <a:xfrm>
            <a:off x="8604400" y="4590300"/>
            <a:ext cx="539700" cy="55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4881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livia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7</Words>
  <Application>Microsoft Macintosh PowerPoint</Application>
  <PresentationFormat>Bildschirmpräsentation (16:9)</PresentationFormat>
  <Paragraphs>15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Raleway ExtraBold</vt:lpstr>
      <vt:lpstr>Raleway</vt:lpstr>
      <vt:lpstr>Raleway Light</vt:lpstr>
      <vt:lpstr>Arial</vt:lpstr>
      <vt:lpstr>Olivia template</vt:lpstr>
      <vt:lpstr>think-cell Folie</vt:lpstr>
      <vt:lpstr>Curriculum Draft</vt:lpstr>
      <vt:lpstr>Business Analysis Approach</vt:lpstr>
      <vt:lpstr>Business Analysis Approach «Needs» Project Initi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e Programming Sexy avoid print («Hello, World!»)</dc:title>
  <cp:lastModifiedBy>Besic Haris (s)</cp:lastModifiedBy>
  <cp:revision>82</cp:revision>
  <dcterms:modified xsi:type="dcterms:W3CDTF">2019-11-30T07:33:58Z</dcterms:modified>
</cp:coreProperties>
</file>